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9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404" r:id="rId32"/>
    <p:sldId id="403" r:id="rId33"/>
    <p:sldId id="453" r:id="rId34"/>
    <p:sldId id="454" r:id="rId35"/>
    <p:sldId id="455" r:id="rId36"/>
    <p:sldId id="456" r:id="rId37"/>
    <p:sldId id="443" r:id="rId38"/>
    <p:sldId id="445" r:id="rId39"/>
    <p:sldId id="405" r:id="rId40"/>
    <p:sldId id="447" r:id="rId41"/>
    <p:sldId id="448" r:id="rId42"/>
    <p:sldId id="449" r:id="rId43"/>
    <p:sldId id="450" r:id="rId44"/>
    <p:sldId id="479" r:id="rId45"/>
    <p:sldId id="480" r:id="rId46"/>
    <p:sldId id="406" r:id="rId47"/>
    <p:sldId id="457" r:id="rId48"/>
    <p:sldId id="473" r:id="rId49"/>
    <p:sldId id="474" r:id="rId50"/>
    <p:sldId id="475" r:id="rId51"/>
    <p:sldId id="476" r:id="rId52"/>
    <p:sldId id="477" r:id="rId53"/>
    <p:sldId id="408" r:id="rId54"/>
    <p:sldId id="458" r:id="rId55"/>
    <p:sldId id="407" r:id="rId56"/>
    <p:sldId id="470" r:id="rId57"/>
    <p:sldId id="471" r:id="rId58"/>
    <p:sldId id="481" r:id="rId59"/>
    <p:sldId id="478" r:id="rId60"/>
    <p:sldId id="401" r:id="rId61"/>
    <p:sldId id="409" r:id="rId62"/>
    <p:sldId id="410" r:id="rId63"/>
    <p:sldId id="418" r:id="rId64"/>
    <p:sldId id="451" r:id="rId65"/>
    <p:sldId id="466" r:id="rId66"/>
    <p:sldId id="468" r:id="rId67"/>
    <p:sldId id="469" r:id="rId68"/>
  </p:sldIdLst>
  <p:sldSz cx="9144000" cy="6858000" type="screen4x3"/>
  <p:notesSz cx="6794500" cy="9931400"/>
  <p:custDataLst>
    <p:tags r:id="rId7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00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87293" autoAdjust="0"/>
  </p:normalViewPr>
  <p:slideViewPr>
    <p:cSldViewPr showGuides="1">
      <p:cViewPr varScale="1">
        <p:scale>
          <a:sx n="110" d="100"/>
          <a:sy n="110" d="100"/>
        </p:scale>
        <p:origin x="1302" y="108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1-1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Pattern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5949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5949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"</a:t>
            </a:r>
            <a:r>
              <a:rPr lang="en-US" sz="1000" b="1" dirty="0" err="1">
                <a:solidFill>
                  <a:schemeClr val="tx1"/>
                </a:solidFill>
              </a:rPr>
              <a:t>main.b4p</a:t>
            </a:r>
            <a:r>
              <a:rPr lang="en-US" sz="1000" b="1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5447865-0D3B-45C5-B3BE-2C8D89BA33E1}"/>
              </a:ext>
            </a:extLst>
          </p:cNvPr>
          <p:cNvSpPr/>
          <p:nvPr/>
        </p:nvSpPr>
        <p:spPr>
          <a:xfrm>
            <a:off x="396000" y="530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3789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sk whether t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tart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581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365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94E49359-779F-4879-90A3-5D88F2BAA58F}"/>
              </a:ext>
            </a:extLst>
          </p:cNvPr>
          <p:cNvCxnSpPr>
            <a:cxnSpLocks/>
            <a:endCxn id="69" idx="0"/>
          </p:cNvCxnSpPr>
          <p:nvPr/>
        </p:nvCxnSpPr>
        <p:spPr>
          <a:xfrm>
            <a:off x="1404000" y="4869048"/>
            <a:ext cx="0" cy="431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4860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C18AB95-FC6B-491E-A652-FCF7EC140CF9}"/>
              </a:ext>
            </a:extLst>
          </p:cNvPr>
          <p:cNvSpPr/>
          <p:nvPr/>
        </p:nvSpPr>
        <p:spPr>
          <a:xfrm>
            <a:off x="4860000" y="4581000"/>
            <a:ext cx="2016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 (*.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1AA09950-4AEC-412A-9715-8ABDF3F1CDEA}"/>
              </a:ext>
            </a:extLst>
          </p:cNvPr>
          <p:cNvCxnSpPr>
            <a:cxnSpLocks/>
            <a:endCxn id="107" idx="0"/>
          </p:cNvCxnSpPr>
          <p:nvPr/>
        </p:nvCxnSpPr>
        <p:spPr>
          <a:xfrm>
            <a:off x="5868000" y="422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17349C3A-C8AF-415D-875B-2305AFB31007}"/>
              </a:ext>
            </a:extLst>
          </p:cNvPr>
          <p:cNvCxnSpPr>
            <a:cxnSpLocks/>
            <a:stCxn id="107" idx="2"/>
          </p:cNvCxnSpPr>
          <p:nvPr/>
        </p:nvCxnSpPr>
        <p:spPr>
          <a:xfrm>
            <a:off x="5868000" y="4869000"/>
            <a:ext cx="0" cy="64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5517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>
            <a:extLst>
              <a:ext uri="{FF2B5EF4-FFF2-40B4-BE49-F238E27FC236}">
                <a16:creationId xmlns:a16="http://schemas.microsoft.com/office/drawing/2014/main" id="{8B853D02-4510-4F92-A3C2-57154E6D60BE}"/>
              </a:ext>
            </a:extLst>
          </p:cNvPr>
          <p:cNvSpPr/>
          <p:nvPr/>
        </p:nvSpPr>
        <p:spPr>
          <a:xfrm>
            <a:off x="2628000" y="458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013000"/>
            <a:ext cx="0" cy="93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endCxn id="118" idx="0"/>
          </p:cNvCxnSpPr>
          <p:nvPr/>
        </p:nvCxnSpPr>
        <p:spPr>
          <a:xfrm>
            <a:off x="3636000" y="2925000"/>
            <a:ext cx="0" cy="165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5517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82247368-4B39-4DFD-AB42-DAB4C0ADE2DA}"/>
              </a:ext>
            </a:extLst>
          </p:cNvPr>
          <p:cNvCxnSpPr>
            <a:cxnSpLocks/>
          </p:cNvCxnSpPr>
          <p:nvPr/>
        </p:nvCxnSpPr>
        <p:spPr>
          <a:xfrm>
            <a:off x="2412000" y="4077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86B5AA-00F2-4B5A-B624-9E6A0BDE63BC}"/>
              </a:ext>
            </a:extLst>
          </p:cNvPr>
          <p:cNvSpPr/>
          <p:nvPr/>
        </p:nvSpPr>
        <p:spPr>
          <a:xfrm>
            <a:off x="2412000" y="4077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141</Words>
  <Application>Microsoft Office PowerPoint</Application>
  <PresentationFormat>Bildschirmpräsentation (4:3)</PresentationFormat>
  <Paragraphs>3130</Paragraphs>
  <Slides>67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74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Pattern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75</cp:revision>
  <cp:lastPrinted>2014-03-14T08:12:43Z</cp:lastPrinted>
  <dcterms:created xsi:type="dcterms:W3CDTF">2013-11-22T07:35:27Z</dcterms:created>
  <dcterms:modified xsi:type="dcterms:W3CDTF">2020-11-11T21:46:15Z</dcterms:modified>
</cp:coreProperties>
</file>